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85" r:id="rId1"/>
    <p:sldMasterId id="2147483697" r:id="rId2"/>
    <p:sldMasterId id="2147483705" r:id="rId3"/>
  </p:sldMasterIdLst>
  <p:notesMasterIdLst>
    <p:notesMasterId r:id="rId15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4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Označba mesta datum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B7D977-65ED-4BD5-9696-D6EE6DE8A6CB}" type="datetimeFigureOut">
              <a:rPr lang="sl-SI" smtClean="0"/>
              <a:t>6. 09. 2017</a:t>
            </a:fld>
            <a:endParaRPr lang="sl-SI"/>
          </a:p>
        </p:txBody>
      </p:sp>
      <p:sp>
        <p:nvSpPr>
          <p:cNvPr id="4" name="Označba mest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l-SI"/>
          </a:p>
        </p:txBody>
      </p:sp>
      <p:sp>
        <p:nvSpPr>
          <p:cNvPr id="5" name="Označba mesta opomb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6" name="Označba mesta no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7" name="Označba mest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068FA1-68E2-478A-ACEA-34D8F4588FC0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379982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11" Type="http://schemas.openxmlformats.org/officeDocument/2006/relationships/hyperlink" Target="http://www.atkearney.com/" TargetMode="External"/><Relationship Id="rId5" Type="http://schemas.openxmlformats.org/officeDocument/2006/relationships/tags" Target="../tags/tag8.xml"/><Relationship Id="rId10" Type="http://schemas.openxmlformats.org/officeDocument/2006/relationships/image" Target="../media/image5.jpeg"/><Relationship Id="rId4" Type="http://schemas.openxmlformats.org/officeDocument/2006/relationships/tags" Target="../tags/tag7.xml"/><Relationship Id="rId9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6E3CBE0-36A5-4072-B5A6-59DAA409F3E0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E7AA597-2AC3-4855-B57C-C28B032812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67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91B5E19-BD7E-43E9-BEBB-CC360E991041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381179E-E421-4C9B-B2D2-D433543487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5485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BCF97BA-3D61-4130-BC2F-39C6A6197F9C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C48785A-773C-487F-ABB9-1EB9C86DE9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17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1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0" descr="Red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4800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l-SI" smtClean="0"/>
              <a:t>Uredite slog naslova matric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l-SI" smtClean="0"/>
              <a:t>Uredite slog podnaslova matr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309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39692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sl-SI" smtClean="0"/>
              <a:t>Uredite slog naslova matr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1881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3"/>
          <p:cNvSpPr txBox="1">
            <a:spLocks noChangeArrowheads="1"/>
          </p:cNvSpPr>
          <p:nvPr/>
        </p:nvSpPr>
        <p:spPr bwMode="auto">
          <a:xfrm>
            <a:off x="8045450" y="6610350"/>
            <a:ext cx="603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800" smtClean="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5" name="TextBox 14"/>
          <p:cNvSpPr txBox="1">
            <a:spLocks noChangeArrowheads="1"/>
          </p:cNvSpPr>
          <p:nvPr/>
        </p:nvSpPr>
        <p:spPr bwMode="auto">
          <a:xfrm>
            <a:off x="8642350" y="6594475"/>
            <a:ext cx="2651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93092567-3D61-467E-A77A-DC8617CFF331}" type="slidenum">
              <a:rPr lang="en-US" altLang="sl-SI" sz="900" smtClean="0">
                <a:solidFill>
                  <a:srgbClr val="ADABA1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sl-SI" sz="900" smtClean="0">
              <a:solidFill>
                <a:srgbClr val="ADABA1"/>
              </a:solidFill>
            </a:endParaRPr>
          </a:p>
        </p:txBody>
      </p:sp>
      <p:pic>
        <p:nvPicPr>
          <p:cNvPr id="6" name="Picture 12" descr="White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675"/>
            <a:ext cx="91440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sl-SI" smtClean="0"/>
              <a:t>Uredite slog naslova matr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356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sl-SI" smtClean="0"/>
              <a:t>Uredite slog naslova matr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1071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>
            <a:spLocks noChangeArrowheads="1"/>
          </p:cNvSpPr>
          <p:nvPr/>
        </p:nvSpPr>
        <p:spPr bwMode="auto">
          <a:xfrm>
            <a:off x="8045450" y="6610350"/>
            <a:ext cx="603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800" smtClean="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4" name="TextBox 14"/>
          <p:cNvSpPr txBox="1">
            <a:spLocks noChangeArrowheads="1"/>
          </p:cNvSpPr>
          <p:nvPr/>
        </p:nvSpPr>
        <p:spPr bwMode="auto">
          <a:xfrm>
            <a:off x="8642350" y="6594475"/>
            <a:ext cx="2651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907DD95A-C68C-4F64-81E9-535799D48A83}" type="slidenum">
              <a:rPr lang="en-US" altLang="sl-SI" sz="900" smtClean="0">
                <a:solidFill>
                  <a:srgbClr val="ADABA1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sl-SI" sz="900" smtClean="0">
              <a:solidFill>
                <a:srgbClr val="ADABA1"/>
              </a:solidFill>
            </a:endParaRPr>
          </a:p>
        </p:txBody>
      </p:sp>
      <p:pic>
        <p:nvPicPr>
          <p:cNvPr id="5" name="Picture 12" descr="White1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675"/>
            <a:ext cx="91440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006_Sig-for-last-page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4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44475" y="2924175"/>
          <a:ext cx="8640760" cy="197326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</a:tblGrid>
              <a:tr h="42345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 dirty="0">
                          <a:latin typeface="Arial"/>
                        </a:rPr>
                        <a:t>Americas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Calgary</a:t>
                      </a:r>
                      <a:endParaRPr lang="en-US" sz="9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Chicago 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Dallas</a:t>
                      </a:r>
                      <a:endParaRPr lang="en-US" sz="9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Detroit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Houston</a:t>
                      </a:r>
                      <a:endParaRPr lang="en-US" sz="900" b="1" dirty="0">
                        <a:latin typeface="Arial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</a:rPr>
                        <a:t>Mexico City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New York</a:t>
                      </a:r>
                      <a:endParaRPr lang="en-US" sz="9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alo Alto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San Francisc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São Paulo</a:t>
                      </a:r>
                      <a:endParaRPr lang="en-US" sz="900" dirty="0">
                        <a:latin typeface="Arial"/>
                      </a:endParaRP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Washington,</a:t>
                      </a:r>
                      <a:r>
                        <a:rPr lang="en-US" sz="700" dirty="0">
                          <a:latin typeface="+mn-lt"/>
                        </a:rPr>
                        <a:t> </a:t>
                      </a:r>
                      <a:r>
                        <a:rPr lang="en-US" sz="900" dirty="0">
                          <a:latin typeface="+mn-lt"/>
                        </a:rPr>
                        <a:t>D.C.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423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</a:rPr>
                        <a:t>Asia Pacific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eijing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Jakarta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elbourne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New Delhi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hanghai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ydney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Taipe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Tokyo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702894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Arial"/>
                        </a:rPr>
                        <a:t>Europe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ucharest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udap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Düsseldorf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Frankfurt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Helsink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Istanb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Kiev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Lisbon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Lond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ilan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unich</a:t>
                      </a:r>
                      <a:br>
                        <a:rPr lang="en-US" sz="900" dirty="0">
                          <a:latin typeface="Arial"/>
                        </a:rPr>
                      </a:br>
                      <a:r>
                        <a:rPr lang="en-US" sz="900" dirty="0">
                          <a:latin typeface="Arial"/>
                        </a:rPr>
                        <a:t>Os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aris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tockholm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tuttgart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Vien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Zurich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423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</a:rPr>
                        <a:t>Middle East </a:t>
                      </a:r>
                      <a:br>
                        <a:rPr lang="en-US" sz="900" b="1" dirty="0">
                          <a:latin typeface="Arial"/>
                        </a:rPr>
                      </a:br>
                      <a:r>
                        <a:rPr lang="en-US" sz="900" b="1" dirty="0">
                          <a:latin typeface="Arial"/>
                        </a:rPr>
                        <a:t>and Africa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Doha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Johannesburg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Manama</a:t>
                      </a:r>
                    </a:p>
                    <a:p>
                      <a:r>
                        <a:rPr lang="en-US" sz="900" dirty="0">
                          <a:latin typeface="Arial"/>
                        </a:rPr>
                        <a:t>Riyadh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9" name="TextBox 5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44475" y="1700213"/>
            <a:ext cx="8640763" cy="129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1400" smtClean="0">
                <a:solidFill>
                  <a:srgbClr val="000000"/>
                </a:solidFill>
                <a:cs typeface="Arial" panose="020B0604020202020204" pitchFamily="34" charset="0"/>
              </a:rPr>
              <a:t>A.T. Kearney is a leading global management consulting firm with offices in more than 40 countries. Since 1926, 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lang="en-US" altLang="sl-SI" sz="1400" smtClean="0">
                <a:solidFill>
                  <a:srgbClr val="000000"/>
                </a:solidFill>
                <a:cs typeface="Arial" panose="020B0604020202020204" pitchFamily="34" charset="0"/>
                <a:hlinkClick r:id="rId11"/>
              </a:rPr>
              <a:t>www.atkearney.com</a:t>
            </a:r>
            <a:r>
              <a:rPr lang="en-US" altLang="sl-SI" sz="1400" smtClean="0">
                <a:solidFill>
                  <a:srgbClr val="000000"/>
                </a:solidFill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2415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>
            <a:spLocks noChangeArrowheads="1"/>
          </p:cNvSpPr>
          <p:nvPr/>
        </p:nvSpPr>
        <p:spPr bwMode="auto">
          <a:xfrm>
            <a:off x="8045450" y="6610350"/>
            <a:ext cx="603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800" smtClean="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6" name="TextBox 14"/>
          <p:cNvSpPr txBox="1">
            <a:spLocks noChangeArrowheads="1"/>
          </p:cNvSpPr>
          <p:nvPr/>
        </p:nvSpPr>
        <p:spPr bwMode="auto">
          <a:xfrm>
            <a:off x="8642350" y="6594475"/>
            <a:ext cx="2651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3458A59-7F17-4CFB-A4A1-11B792566DD9}" type="slidenum">
              <a:rPr lang="en-US" altLang="sl-SI" sz="900" smtClean="0">
                <a:solidFill>
                  <a:srgbClr val="ADABA1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sl-SI" sz="900" smtClean="0">
              <a:solidFill>
                <a:srgbClr val="ADABA1"/>
              </a:solidFill>
            </a:endParaRPr>
          </a:p>
        </p:txBody>
      </p:sp>
      <p:pic>
        <p:nvPicPr>
          <p:cNvPr id="7" name="Picture 12" descr="White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675"/>
            <a:ext cx="91440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50825" y="446999"/>
            <a:ext cx="7594705" cy="332399"/>
          </a:xfrm>
          <a:prstGeom prst="rect">
            <a:avLst/>
          </a:prstGeom>
        </p:spPr>
        <p:txBody>
          <a:bodyPr rtlCol="0" anchor="b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75591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9237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7972" y="3429000"/>
            <a:ext cx="5024534" cy="822746"/>
          </a:xfrm>
        </p:spPr>
        <p:txBody>
          <a:bodyPr anchor="b">
            <a:normAutofit/>
          </a:bodyPr>
          <a:lstStyle>
            <a:lvl1pPr algn="ctr">
              <a:defRPr sz="2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8963" y="4526998"/>
            <a:ext cx="2628900" cy="1305864"/>
          </a:xfrm>
        </p:spPr>
        <p:txBody>
          <a:bodyPr/>
          <a:lstStyle>
            <a:lvl1pPr marL="0" indent="0" algn="ctr">
              <a:buNone/>
              <a:defRPr sz="1350">
                <a:solidFill>
                  <a:srgbClr val="92D050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dirty="0" smtClean="0"/>
              <a:t>Click to edit Master subtitle style</a:t>
            </a:r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4113314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485C752-F9FC-46B5-A1C2-01497BE53DB7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039AC7D-4DFD-41A5-BBFB-98ABF313DC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874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CD5386E-4253-4862-840F-64904FCF6359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16E51FA-5390-442D-A685-7D5DCD952884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7622343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938" y="-4763"/>
            <a:ext cx="760412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6FBEF02-E598-4A8D-B4E4-C8B9EEB76CE5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0FFF5A4-E03A-4FCA-8056-FA6457308644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1895733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938" y="14288"/>
            <a:ext cx="754062" cy="1004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3F74DD7-ADEF-4EC2-9C89-E6536E4B07E2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7E48FA4-8CA0-4E22-A87F-8178C7FE0C47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1455455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700" y="17463"/>
            <a:ext cx="750888" cy="100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BD376B2-C50D-4981-B1C7-44609341D307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D8DC1DB-033B-4DD8-BD61-930CD1B844C6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0031171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2225" y="6350"/>
            <a:ext cx="752475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64BE832-DC44-47E7-9E28-56497A242886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51335CE-5180-4B8B-9C2B-06B796ABD132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2233618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575" y="0"/>
            <a:ext cx="765175" cy="101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DE9B521-5248-4027-939F-54714E6568AF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89E5DB9-033A-4857-A7B3-94C7923B1352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448223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288" y="0"/>
            <a:ext cx="766762" cy="1023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39C7B19-B79C-4968-9AA5-C1B3D5FED21C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C76A5E1-4E24-46AE-BBCE-5CFBF525F4F3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962253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1463" y="0"/>
            <a:ext cx="763587" cy="101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FCA30DD-44BF-457E-99B1-FAA9A992BE07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16188CF-E933-43AE-9C3B-42F63F530A10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2716567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0"/>
            <a:ext cx="763587" cy="101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AD41C66-0E56-4BC7-A871-391B528B8E91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1670B5E-82AA-45CF-865F-8E44F9FEC0AA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6323586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2225" y="0"/>
            <a:ext cx="760413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AD71722-7760-4BA3-A39B-EAE1D04D3B8A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D428778-70B2-410A-9DB4-0A78268CCC65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248057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80A939C-6A38-4884-8ABC-1C0DFD60F834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EB4C74D-3EF2-46D4-BCDA-531CC49A5B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7139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ka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2350" y="0"/>
            <a:ext cx="763588" cy="101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18752"/>
            <a:ext cx="7886700" cy="671939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31E2C0D-1672-4CA5-9404-ACF3D73EF0D0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B409AFD-E28F-442B-9E5A-89E87B4F4EFC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5894689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9237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3BBF471-4859-4284-B01A-6D9943224155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9E34332-DA02-4924-BE91-1328A96558D3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6845588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2737"/>
          </a:xfrm>
        </p:spPr>
        <p:txBody>
          <a:bodyPr anchor="b">
            <a:normAutofit/>
          </a:bodyPr>
          <a:lstStyle>
            <a:lvl1pPr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6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rgbClr val="92D050"/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28B5B93-B0C8-4C84-9EDA-5903DB2446EA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09A0A2A-33FF-4179-8865-0CCAC5A96D7C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733412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bg1">
                    <a:lumMod val="6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bg1">
                    <a:lumMod val="6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635C100-7252-4792-B699-12B63B6155C9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6096A4B-2B45-42B3-82D7-4FBFD1D65840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3706355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9237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28650" y="979058"/>
            <a:ext cx="7886700" cy="711633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bg1">
                    <a:lumMod val="6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bg1">
                    <a:lumMod val="65000"/>
                  </a:schemeClr>
                </a:solidFill>
              </a:defRPr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48754BE-F93A-490B-AA66-17DBEA0E0E36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AEB551B-5F05-4200-86E8-A227578040A2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7081236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8"/>
            <a:ext cx="7886700" cy="1325563"/>
          </a:xfr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92D05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92D050"/>
                </a:solidFill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>
            <a:lvl1pPr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sl-SI" dirty="0"/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19CEF5F-09BA-45CB-8781-F792A5E9B959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B348132-395C-4010-9BF5-F9582650C7AC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0360485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solidFill>
                  <a:srgbClr val="92D05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sl-SI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F49F3C0-FD10-493C-B4DE-039C2B389DE3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09BC436-12CE-4168-80D1-EDF09F98A516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84004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447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4B6530C-B301-4C1D-A3F2-5E32D2AA9661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0D3515A-1097-487D-B23B-3F94901ECCC5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08517619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9237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D451C36-5A43-4D94-AC16-CB1F7A4EB3A8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12C4279-3928-4483-A668-8BB8B4DD9BE3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0313272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3F63312-09E1-4921-90BF-367CAAFF9212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67B36AA-B02D-4A4C-BDF8-874D3BB257B8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582249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B5E116C-F634-4DD2-AF47-9E8585B85CC3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4FB9686-A9F1-40DA-8B1E-1BC41F5F5B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4862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4563EB3-D966-40FB-807E-F2B83E425065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179269F-B03B-4E3E-BD7F-950C39E2EB76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6091902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AF0E9A6-DC9F-49FF-9E54-0A208CEE4F38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7296C33-F00E-48B0-9575-C93EF5A2A544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1306896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3F53978-E0D7-4060-844E-F505D5534962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1590A35-F005-4C63-A189-D6B064E50A8A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7703790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D461A25-61D2-4F84-9F7D-DB8C37AD9D36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7A2725D-7344-4752-BDB9-D9CB28EC48BA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8630962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8658552-202E-4728-9C39-D80F552B2281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768B296-BEFC-439D-881A-0FBFE35E237C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5443306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D926AD8-1CED-4205-A324-9CFF5BECB177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281ADB7-5656-4065-B874-1AA8E5A6828E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4692879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45647DB-D477-4877-8B7B-4AE4B35527DB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E199CF7-004B-4B74-ACC9-09A4CB15B23D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7545515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4"/>
          <p:cNvCxnSpPr/>
          <p:nvPr userDrawn="1"/>
        </p:nvCxnSpPr>
        <p:spPr>
          <a:xfrm>
            <a:off x="0" y="6357938"/>
            <a:ext cx="6286500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3" name="Straight Connector 5"/>
          <p:cNvCxnSpPr/>
          <p:nvPr userDrawn="1"/>
        </p:nvCxnSpPr>
        <p:spPr>
          <a:xfrm>
            <a:off x="2857500" y="6570663"/>
            <a:ext cx="6286500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4" name="Picture 10" descr="UNISTAR Logo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8" y="6429375"/>
            <a:ext cx="17399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7"/>
          <p:cNvCxnSpPr/>
          <p:nvPr userDrawn="1"/>
        </p:nvCxnSpPr>
        <p:spPr>
          <a:xfrm rot="5400000">
            <a:off x="6287294" y="3285332"/>
            <a:ext cx="5000625" cy="1587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6" name="Straight Connector 8"/>
          <p:cNvCxnSpPr/>
          <p:nvPr userDrawn="1"/>
        </p:nvCxnSpPr>
        <p:spPr>
          <a:xfrm rot="5400000">
            <a:off x="6180138" y="3678238"/>
            <a:ext cx="4643437" cy="1587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A6FD230-8A66-4542-A21C-B868E1A5DDD4}" type="datetimeFigureOut">
              <a:rPr lang="sl-SI"/>
              <a:pPr>
                <a:defRPr/>
              </a:pPr>
              <a:t>6. 09. 2017</a:t>
            </a:fld>
            <a:endParaRPr lang="sl-SI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0F5DC17-529F-4AE5-B2B0-D833C32061E1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037882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A7A5991-BF94-40D1-9CC6-65ADA1F7D65F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0731DE4-EDB7-44B7-867B-114C32F7B98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146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E8466A2-F6B8-46D9-8B3B-D0894D498B45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4929D6F-0C75-4E88-A04E-7C08B75E26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8275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3A470D2-07BB-41EA-9718-1DB62AAD25CE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3654EE8-04A3-451C-993A-2B4A9C21D4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8569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6FE102E-1809-482B-855E-F6B42DDDFCC3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74919F6-0401-4382-ABD2-94002CF748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9039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D41ACCA-EC73-4345-A542-CDDF69887B5D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E93C792-8D20-4BAD-A9AF-1B8032973F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426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image" Target="../media/image6.png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676275"/>
            <a:ext cx="7886700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l-SI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l-SI" smtClean="0"/>
              <a:t>Click to edit Master text styles</a:t>
            </a:r>
          </a:p>
          <a:p>
            <a:pPr lvl="1"/>
            <a:r>
              <a:rPr lang="en-US" altLang="sl-SI" smtClean="0"/>
              <a:t>Second level</a:t>
            </a:r>
          </a:p>
          <a:p>
            <a:pPr lvl="2"/>
            <a:r>
              <a:rPr lang="en-US" altLang="sl-SI" smtClean="0"/>
              <a:t>Third level</a:t>
            </a:r>
          </a:p>
          <a:p>
            <a:pPr lvl="3"/>
            <a:r>
              <a:rPr lang="en-US" altLang="sl-SI" smtClean="0"/>
              <a:t>Fourth level</a:t>
            </a:r>
          </a:p>
          <a:p>
            <a:pPr lvl="4"/>
            <a:r>
              <a:rPr lang="en-US" altLang="sl-SI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fld id="{2A3901BE-9AAA-4D15-A679-039E5CA1456D}" type="datetimeFigureOut">
              <a:rPr lang="en-US"/>
              <a:pPr defTabSz="914400"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fld id="{9F1E8995-EC44-473B-97C4-2D70D67DA518}" type="slidenum">
              <a:rPr lang="en-US"/>
              <a:pPr defTabSz="914400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58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sl-SI" smtClean="0"/>
              <a:t>Headline of maximum two lines here</a:t>
            </a:r>
          </a:p>
        </p:txBody>
      </p:sp>
      <p:sp>
        <p:nvSpPr>
          <p:cNvPr id="41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sl-SI" smtClean="0"/>
              <a:t>Text on first level here</a:t>
            </a:r>
          </a:p>
          <a:p>
            <a:pPr lvl="1"/>
            <a:r>
              <a:rPr lang="en-US" altLang="sl-SI" smtClean="0"/>
              <a:t>Second level</a:t>
            </a:r>
          </a:p>
          <a:p>
            <a:pPr lvl="2"/>
            <a:r>
              <a:rPr lang="en-US" altLang="sl-SI" smtClean="0"/>
              <a:t>Third level</a:t>
            </a:r>
          </a:p>
          <a:p>
            <a:pPr lvl="3"/>
            <a:r>
              <a:rPr lang="en-US" altLang="sl-SI" smtClean="0"/>
              <a:t>Fourth level</a:t>
            </a:r>
          </a:p>
          <a:p>
            <a:pPr lvl="4"/>
            <a:r>
              <a:rPr lang="en-US" altLang="sl-SI" smtClean="0"/>
              <a:t>Fifth level</a:t>
            </a:r>
          </a:p>
        </p:txBody>
      </p:sp>
      <p:sp>
        <p:nvSpPr>
          <p:cNvPr id="4101" name="TextBox 13"/>
          <p:cNvSpPr txBox="1">
            <a:spLocks noChangeArrowheads="1"/>
          </p:cNvSpPr>
          <p:nvPr/>
        </p:nvSpPr>
        <p:spPr bwMode="auto">
          <a:xfrm>
            <a:off x="8045450" y="6610350"/>
            <a:ext cx="603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800" smtClean="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4102" name="TextBox 14"/>
          <p:cNvSpPr txBox="1">
            <a:spLocks noChangeArrowheads="1"/>
          </p:cNvSpPr>
          <p:nvPr/>
        </p:nvSpPr>
        <p:spPr bwMode="auto">
          <a:xfrm>
            <a:off x="8642350" y="6594475"/>
            <a:ext cx="2651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6ADEC03-4676-4695-9F07-A6066CF776A5}" type="slidenum">
              <a:rPr lang="en-US" altLang="sl-SI" sz="900" smtClean="0">
                <a:solidFill>
                  <a:srgbClr val="ADABA1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sl-SI" sz="900" smtClean="0">
              <a:solidFill>
                <a:srgbClr val="ADABA1"/>
              </a:solidFill>
            </a:endParaRPr>
          </a:p>
        </p:txBody>
      </p:sp>
      <p:pic>
        <p:nvPicPr>
          <p:cNvPr id="4103" name="Picture 12" descr="White1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675"/>
            <a:ext cx="91440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500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panose="020B0604020202020204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8950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413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69938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8"/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0"/>
            <a:ext cx="9139237" cy="686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l-SI" smtClean="0"/>
              <a:t>Click to edit Master title style</a:t>
            </a:r>
            <a:endParaRPr lang="sl-SI" altLang="sl-SI" smtClean="0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l-SI" smtClean="0"/>
              <a:t>Click to edit Master text styles</a:t>
            </a:r>
          </a:p>
          <a:p>
            <a:pPr lvl="1"/>
            <a:r>
              <a:rPr lang="en-US" altLang="sl-SI" smtClean="0"/>
              <a:t>Second level</a:t>
            </a:r>
          </a:p>
          <a:p>
            <a:pPr lvl="2"/>
            <a:r>
              <a:rPr lang="en-US" altLang="sl-SI" smtClean="0"/>
              <a:t>Third level</a:t>
            </a:r>
          </a:p>
          <a:p>
            <a:pPr lvl="3"/>
            <a:r>
              <a:rPr lang="en-US" altLang="sl-SI" smtClean="0"/>
              <a:t>Fourth level</a:t>
            </a:r>
          </a:p>
          <a:p>
            <a:pPr lvl="4"/>
            <a:r>
              <a:rPr lang="en-US" altLang="sl-SI" smtClean="0"/>
              <a:t>Fifth level</a:t>
            </a:r>
            <a:endParaRPr lang="sl-SI" altLang="sl-SI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fld id="{9895D454-F56B-4862-B87D-E521BE4F1980}" type="datetimeFigureOut">
              <a:rPr lang="sl-SI"/>
              <a:pPr defTabSz="914400">
                <a:defRPr/>
              </a:pPr>
              <a:t>6. 09. 2017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fld id="{8634485A-1DAE-400F-8748-60470DC3D3F0}" type="slidenum">
              <a:rPr lang="sl-SI"/>
              <a:pPr defTabSz="914400"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924047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  <p:sldLayoutId id="2147483720" r:id="rId15"/>
    <p:sldLayoutId id="2147483721" r:id="rId16"/>
    <p:sldLayoutId id="2147483722" r:id="rId17"/>
    <p:sldLayoutId id="2147483723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30" r:id="rId25"/>
    <p:sldLayoutId id="2147483731" r:id="rId26"/>
    <p:sldLayoutId id="2147483732" r:id="rId27"/>
    <p:sldLayoutId id="2147483733" r:id="rId28"/>
    <p:sldLayoutId id="2147483734" r:id="rId29"/>
  </p:sldLayoutIdLst>
  <p:timing>
    <p:tnLst>
      <p:par>
        <p:cTn id="1" dur="indefinite" restart="never" nodeType="tmRoot"/>
      </p:par>
    </p:tnLst>
  </p:timing>
  <p:txStyles>
    <p:titleStyle>
      <a:lvl1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kern="1200">
          <a:solidFill>
            <a:srgbClr val="92D050"/>
          </a:solidFill>
          <a:latin typeface="+mj-lt"/>
          <a:ea typeface="+mj-ea"/>
          <a:cs typeface="+mj-cs"/>
        </a:defRPr>
      </a:lvl1pPr>
      <a:lvl2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92D050"/>
          </a:solidFill>
          <a:latin typeface="Calibri Light" panose="020F0302020204030204" pitchFamily="34" charset="0"/>
        </a:defRPr>
      </a:lvl2pPr>
      <a:lvl3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92D050"/>
          </a:solidFill>
          <a:latin typeface="Calibri Light" panose="020F0302020204030204" pitchFamily="34" charset="0"/>
        </a:defRPr>
      </a:lvl3pPr>
      <a:lvl4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92D050"/>
          </a:solidFill>
          <a:latin typeface="Calibri Light" panose="020F0302020204030204" pitchFamily="34" charset="0"/>
        </a:defRPr>
      </a:lvl4pPr>
      <a:lvl5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92D050"/>
          </a:solidFill>
          <a:latin typeface="Calibri Light" panose="020F0302020204030204" pitchFamily="34" charset="0"/>
        </a:defRPr>
      </a:lvl5pPr>
      <a:lvl6pPr marL="4572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92D050"/>
          </a:solidFill>
          <a:latin typeface="Calibri Light" panose="020F0302020204030204" pitchFamily="34" charset="0"/>
        </a:defRPr>
      </a:lvl6pPr>
      <a:lvl7pPr marL="9144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92D050"/>
          </a:solidFill>
          <a:latin typeface="Calibri Light" panose="020F0302020204030204" pitchFamily="34" charset="0"/>
        </a:defRPr>
      </a:lvl7pPr>
      <a:lvl8pPr marL="13716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92D050"/>
          </a:solidFill>
          <a:latin typeface="Calibri Light" panose="020F0302020204030204" pitchFamily="34" charset="0"/>
        </a:defRPr>
      </a:lvl8pPr>
      <a:lvl9pPr marL="18288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2700">
          <a:solidFill>
            <a:srgbClr val="92D050"/>
          </a:solidFill>
          <a:latin typeface="Calibri Light" panose="020F0302020204030204" pitchFamily="34" charset="0"/>
        </a:defRPr>
      </a:lvl9pPr>
    </p:titleStyle>
    <p:bodyStyle>
      <a:lvl1pPr marL="169863" indent="-169863" algn="l" defTabSz="684213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rgbClr val="0D0D0D"/>
          </a:solidFill>
          <a:latin typeface="+mn-lt"/>
          <a:ea typeface="+mn-ea"/>
          <a:cs typeface="+mn-cs"/>
        </a:defRPr>
      </a:lvl1pPr>
      <a:lvl2pPr marL="512763" indent="-169863" algn="l" defTabSz="684213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rgbClr val="595959"/>
          </a:solidFill>
          <a:latin typeface="+mn-lt"/>
          <a:ea typeface="+mn-ea"/>
          <a:cs typeface="+mn-cs"/>
        </a:defRPr>
      </a:lvl2pPr>
      <a:lvl3pPr marL="855663" indent="-169863" algn="l" defTabSz="684213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rgbClr val="7F7F7F"/>
          </a:solidFill>
          <a:latin typeface="+mn-lt"/>
          <a:ea typeface="+mn-ea"/>
          <a:cs typeface="+mn-cs"/>
        </a:defRPr>
      </a:lvl3pPr>
      <a:lvl4pPr marL="1198563" indent="-169863" algn="l" defTabSz="684213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rgbClr val="A6A6A6"/>
          </a:solidFill>
          <a:latin typeface="+mn-lt"/>
          <a:ea typeface="+mn-ea"/>
          <a:cs typeface="+mn-cs"/>
        </a:defRPr>
      </a:lvl4pPr>
      <a:lvl5pPr marL="1541463" indent="-169863" algn="l" defTabSz="684213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rgbClr val="A6A6A6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hyperlink" Target="http://www.unistarpro.si/" TargetMode="Externa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8425" y="3429000"/>
            <a:ext cx="5024438" cy="822325"/>
          </a:xfrm>
        </p:spPr>
        <p:txBody>
          <a:bodyPr rtlCol="0"/>
          <a:lstStyle/>
          <a:p>
            <a:pPr defTabSz="685783" eaLnBrk="1" fontAlgn="auto" hangingPunct="1">
              <a:spcAft>
                <a:spcPts val="0"/>
              </a:spcAft>
              <a:defRPr/>
            </a:pPr>
            <a:r>
              <a:rPr lang="sl-SI" b="1" dirty="0"/>
              <a:t>Kako se zaščititi na spletu</a:t>
            </a:r>
            <a:endParaRPr lang="sl-SI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Podnaslov 4"/>
          <p:cNvSpPr>
            <a:spLocks noGrp="1"/>
          </p:cNvSpPr>
          <p:nvPr>
            <p:ph type="subTitle" idx="1"/>
          </p:nvPr>
        </p:nvSpPr>
        <p:spPr>
          <a:xfrm>
            <a:off x="1268413" y="4527550"/>
            <a:ext cx="2628900" cy="1304925"/>
          </a:xfrm>
        </p:spPr>
        <p:txBody>
          <a:bodyPr rtlCol="0">
            <a:normAutofit/>
          </a:bodyPr>
          <a:lstStyle/>
          <a:p>
            <a:pPr defTabSz="685783" eaLnBrk="1" fontAlgn="auto" hangingPunct="1">
              <a:spcAft>
                <a:spcPts val="0"/>
              </a:spcAft>
              <a:defRPr/>
            </a:pPr>
            <a:r>
              <a:rPr lang="sl-SI" dirty="0" smtClean="0"/>
              <a:t>Marko Zavadlav</a:t>
            </a:r>
            <a:endParaRPr lang="sl-SI" dirty="0"/>
          </a:p>
        </p:txBody>
      </p:sp>
      <p:pic>
        <p:nvPicPr>
          <p:cNvPr id="123908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363" y="1685925"/>
            <a:ext cx="3430587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09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5" y="2733675"/>
            <a:ext cx="3578225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4946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Ali se zavedamo nevarnosti?</a:t>
            </a:r>
            <a:endParaRPr lang="en-GB" altLang="sl-SI" smtClean="0"/>
          </a:p>
        </p:txBody>
      </p:sp>
      <p:pic>
        <p:nvPicPr>
          <p:cNvPr id="2050" name="Picture 2" descr="Rezultat iskanja slik za avto nalepka otrok v avtu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2270125"/>
            <a:ext cx="1812925" cy="1814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 descr="Rezultat iskanja slik za avto nalepka otrok v avtu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263" y="2005013"/>
            <a:ext cx="2478087" cy="247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6" descr="Rezultat iskanja slik za facebook child photo"/>
          <p:cNvSpPr>
            <a:spLocks noChangeAspect="1" noChangeArrowheads="1"/>
          </p:cNvSpPr>
          <p:nvPr/>
        </p:nvSpPr>
        <p:spPr bwMode="auto">
          <a:xfrm>
            <a:off x="115888" y="749300"/>
            <a:ext cx="2286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80" tIns="34290" rIns="68580" bIns="34290"/>
          <a:lstStyle/>
          <a:p>
            <a:pPr defTabSz="914400">
              <a:defRPr/>
            </a:pPr>
            <a:endParaRPr lang="en-GB" sz="135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0663" y="2270125"/>
            <a:ext cx="2365375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0" name="Picture 12" descr="Povezana slik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00" y="3132138"/>
            <a:ext cx="5091113" cy="286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1643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ctrTitle"/>
          </p:nvPr>
        </p:nvSpPr>
        <p:spPr>
          <a:xfrm>
            <a:off x="98425" y="3429000"/>
            <a:ext cx="5024438" cy="822325"/>
          </a:xfrm>
        </p:spPr>
        <p:txBody>
          <a:bodyPr rtlCol="0"/>
          <a:lstStyle/>
          <a:p>
            <a:pPr defTabSz="685783" eaLnBrk="1" fontAlgn="auto" hangingPunct="1">
              <a:spcAft>
                <a:spcPts val="0"/>
              </a:spcAft>
              <a:defRPr/>
            </a:pPr>
            <a:r>
              <a:rPr lang="sl-SI" dirty="0" smtClean="0"/>
              <a:t>Hvala za pozornost!</a:t>
            </a:r>
            <a:endParaRPr lang="sl-SI" dirty="0"/>
          </a:p>
        </p:txBody>
      </p:sp>
      <p:sp>
        <p:nvSpPr>
          <p:cNvPr id="3" name="Podnaslov 2"/>
          <p:cNvSpPr>
            <a:spLocks noGrp="1"/>
          </p:cNvSpPr>
          <p:nvPr>
            <p:ph type="subTitle" idx="1"/>
          </p:nvPr>
        </p:nvSpPr>
        <p:spPr>
          <a:xfrm>
            <a:off x="550863" y="4252913"/>
            <a:ext cx="4316412" cy="1349375"/>
          </a:xfrm>
        </p:spPr>
        <p:txBody>
          <a:bodyPr rtlCol="0">
            <a:normAutofit lnSpcReduction="10000"/>
          </a:bodyPr>
          <a:lstStyle/>
          <a:p>
            <a:pPr defTabSz="685783" eaLnBrk="1" fontAlgn="auto" hangingPunct="1">
              <a:spcAft>
                <a:spcPts val="0"/>
              </a:spcAft>
              <a:defRPr/>
            </a:pPr>
            <a:r>
              <a:rPr lang="sl-SI" dirty="0" smtClean="0">
                <a:hlinkClick r:id="rId2"/>
              </a:rPr>
              <a:t>www.unistarpro.si</a:t>
            </a:r>
            <a:endParaRPr lang="sl-SI" dirty="0" smtClean="0"/>
          </a:p>
          <a:p>
            <a:pPr defTabSz="685783" eaLnBrk="1" fontAlgn="auto" hangingPunct="1">
              <a:spcAft>
                <a:spcPts val="0"/>
              </a:spcAft>
              <a:defRPr/>
            </a:pPr>
            <a:r>
              <a:rPr lang="sl-SI" dirty="0" smtClean="0"/>
              <a:t>https</a:t>
            </a:r>
            <a:r>
              <a:rPr lang="sl-SI" dirty="0"/>
              <a:t>://www.gzs.si/sekv/</a:t>
            </a:r>
            <a:endParaRPr lang="sl-SI" dirty="0" smtClean="0"/>
          </a:p>
          <a:p>
            <a:pPr defTabSz="685783" eaLnBrk="1" fontAlgn="auto" hangingPunct="1">
              <a:spcAft>
                <a:spcPts val="0"/>
              </a:spcAft>
              <a:defRPr/>
            </a:pPr>
            <a:endParaRPr lang="sl-SI" dirty="0" smtClean="0"/>
          </a:p>
          <a:p>
            <a:pPr defTabSz="685783" eaLnBrk="1" fontAlgn="auto" hangingPunct="1">
              <a:spcAft>
                <a:spcPts val="0"/>
              </a:spcAft>
              <a:defRPr/>
            </a:pPr>
            <a:endParaRPr lang="sl-SI" dirty="0" smtClean="0"/>
          </a:p>
          <a:p>
            <a:pPr algn="r" defTabSz="685783" eaLnBrk="1" fontAlgn="auto" hangingPunct="1">
              <a:spcAft>
                <a:spcPts val="0"/>
              </a:spcAft>
              <a:defRPr/>
            </a:pPr>
            <a:r>
              <a:rPr lang="sl-SI" dirty="0"/>
              <a:t>m</a:t>
            </a:r>
            <a:r>
              <a:rPr lang="sl-SI" dirty="0" smtClean="0"/>
              <a:t>arko.zavadlav@unistarpro.si</a:t>
            </a:r>
          </a:p>
        </p:txBody>
      </p:sp>
      <p:pic>
        <p:nvPicPr>
          <p:cNvPr id="134148" name="Slika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938" y="857250"/>
            <a:ext cx="3675062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5928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Trendi spletnega kriminala po podatkih Europol</a:t>
            </a:r>
            <a:endParaRPr lang="en-GB" altLang="sl-SI" smtClean="0"/>
          </a:p>
        </p:txBody>
      </p:sp>
      <p:pic>
        <p:nvPicPr>
          <p:cNvPr id="124931" name="Slika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0188" y="1460500"/>
            <a:ext cx="665162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4932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en-GB" altLang="sl-SI" smtClean="0"/>
          </a:p>
        </p:txBody>
      </p:sp>
    </p:spTree>
    <p:extLst>
      <p:ext uri="{BB962C8B-B14F-4D97-AF65-F5344CB8AC3E}">
        <p14:creationId xmlns:p14="http://schemas.microsoft.com/office/powerpoint/2010/main" val="4096481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 rtlCol="0">
            <a:normAutofit/>
          </a:bodyPr>
          <a:lstStyle/>
          <a:p>
            <a:pPr marL="257168" indent="-257168" defTabSz="685783" eaLnBrk="1" fontAlgn="auto" hangingPunct="1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sl-SI" sz="2700" dirty="0"/>
              <a:t>Kriminal kot storitev (</a:t>
            </a:r>
            <a:r>
              <a:rPr lang="sl-SI" sz="2700" dirty="0" err="1"/>
              <a:t>Crime</a:t>
            </a:r>
            <a:r>
              <a:rPr lang="sl-SI" sz="2700" dirty="0"/>
              <a:t>-</a:t>
            </a:r>
            <a:r>
              <a:rPr lang="sl-SI" sz="2700" dirty="0" err="1"/>
              <a:t>as-a</a:t>
            </a:r>
            <a:r>
              <a:rPr lang="sl-SI" sz="2700" dirty="0"/>
              <a:t>-Service)</a:t>
            </a:r>
          </a:p>
          <a:p>
            <a:pPr marL="257168" indent="-257168" defTabSz="685783" eaLnBrk="1" fontAlgn="auto" hangingPunct="1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sl-SI" sz="2700" dirty="0"/>
              <a:t>Izsiljevalski virusi (</a:t>
            </a:r>
            <a:r>
              <a:rPr lang="sl-SI" sz="2700" dirty="0" err="1"/>
              <a:t>Ransomware</a:t>
            </a:r>
            <a:r>
              <a:rPr lang="sl-SI" sz="2700" dirty="0"/>
              <a:t>)</a:t>
            </a:r>
          </a:p>
          <a:p>
            <a:pPr marL="257168" indent="-257168" defTabSz="685783" eaLnBrk="1" fontAlgn="auto" hangingPunct="1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sl-SI" sz="2700" dirty="0"/>
              <a:t>Zloraba podatkov</a:t>
            </a:r>
          </a:p>
          <a:p>
            <a:pPr marL="257168" indent="-257168" defTabSz="685783" eaLnBrk="1" fontAlgn="auto" hangingPunct="1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sl-SI" sz="2700" dirty="0"/>
              <a:t>Zlorabe plačil</a:t>
            </a:r>
          </a:p>
          <a:p>
            <a:pPr marL="257168" indent="-257168" defTabSz="685783" eaLnBrk="1" fontAlgn="auto" hangingPunct="1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sl-SI" sz="2700" dirty="0"/>
              <a:t>Otroška pornografija</a:t>
            </a:r>
          </a:p>
          <a:p>
            <a:pPr marL="257168" indent="-257168" defTabSz="685783" eaLnBrk="1" fontAlgn="auto" hangingPunct="1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sl-SI" sz="2700" dirty="0"/>
              <a:t>Socialni inženiring</a:t>
            </a:r>
          </a:p>
          <a:p>
            <a:pPr marL="257168" indent="-257168" defTabSz="685783" eaLnBrk="1" fontAlgn="auto" hangingPunct="1">
              <a:spcAft>
                <a:spcPts val="0"/>
              </a:spcAft>
              <a:buFont typeface="Arial" panose="020B0604020202020204" pitchFamily="34" charset="0"/>
              <a:buAutoNum type="arabicPeriod"/>
              <a:defRPr/>
            </a:pPr>
            <a:r>
              <a:rPr lang="sl-SI" sz="2700" dirty="0"/>
              <a:t>Virtualne (kripto) valute</a:t>
            </a:r>
          </a:p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endParaRPr lang="en-GB" dirty="0"/>
          </a:p>
        </p:txBody>
      </p:sp>
      <p:sp>
        <p:nvSpPr>
          <p:cNvPr id="125955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Oblike spletnega kriminala po podatkih Europol</a:t>
            </a:r>
            <a:endParaRPr lang="en-GB" altLang="sl-SI" smtClean="0"/>
          </a:p>
        </p:txBody>
      </p:sp>
      <p:pic>
        <p:nvPicPr>
          <p:cNvPr id="125956" name="Slika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0188" y="1460500"/>
            <a:ext cx="665162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5957" name="Picture 2" descr="http://quincy.business/anti-corruption-digest-news/wp-content/uploads/sites/6/2016/09/6854c89b-c576-4aa1-982a-36c458a0f597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125" y="3876675"/>
            <a:ext cx="257175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2353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28650" y="2227263"/>
            <a:ext cx="7886700" cy="2473325"/>
          </a:xfrm>
        </p:spPr>
        <p:txBody>
          <a:bodyPr/>
          <a:lstStyle/>
          <a:p>
            <a:pPr eaLnBrk="1" hangingPunct="1"/>
            <a:r>
              <a:rPr lang="sl-SI" altLang="sl-SI" sz="4500" smtClean="0"/>
              <a:t>Visoko usposobljeni napadalci</a:t>
            </a:r>
          </a:p>
          <a:p>
            <a:pPr eaLnBrk="1" hangingPunct="1"/>
            <a:r>
              <a:rPr lang="sl-SI" altLang="sl-SI" sz="4500" smtClean="0"/>
              <a:t>Lokalni napadalci</a:t>
            </a:r>
          </a:p>
          <a:p>
            <a:pPr eaLnBrk="1" hangingPunct="1"/>
            <a:r>
              <a:rPr lang="sl-SI" altLang="sl-SI" sz="4500" smtClean="0"/>
              <a:t>Globalni napadalci</a:t>
            </a:r>
            <a:endParaRPr lang="en-GB" altLang="sl-SI" sz="4500" smtClean="0"/>
          </a:p>
        </p:txBody>
      </p:sp>
      <p:sp>
        <p:nvSpPr>
          <p:cNvPr id="126979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Kdo so napadalci</a:t>
            </a:r>
            <a:endParaRPr lang="en-GB" altLang="sl-SI" smtClean="0"/>
          </a:p>
        </p:txBody>
      </p:sp>
      <p:pic>
        <p:nvPicPr>
          <p:cNvPr id="126980" name="Picture 2" descr="Rezultat iskanja slik za hack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7013" y="2908300"/>
            <a:ext cx="3695700" cy="268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6380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28650" y="2227263"/>
            <a:ext cx="7886700" cy="2473325"/>
          </a:xfrm>
        </p:spPr>
        <p:txBody>
          <a:bodyPr rtlCol="0">
            <a:normAutofit fontScale="92500" lnSpcReduction="10000"/>
          </a:bodyPr>
          <a:lstStyle/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r>
              <a:rPr lang="sl-SI" sz="4500" dirty="0"/>
              <a:t>Ali bomo napadeni</a:t>
            </a:r>
          </a:p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r>
              <a:rPr lang="sl-SI" sz="4500" dirty="0"/>
              <a:t>Kdaj bomo napadeni</a:t>
            </a:r>
          </a:p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r>
              <a:rPr lang="sl-SI" sz="4500" dirty="0"/>
              <a:t>Ali smo ugotovili, da smo bili napadeni</a:t>
            </a:r>
            <a:endParaRPr lang="en-GB" sz="4500" dirty="0"/>
          </a:p>
        </p:txBody>
      </p:sp>
      <p:sp>
        <p:nvSpPr>
          <p:cNvPr id="128003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Sprememba vprašanja</a:t>
            </a:r>
            <a:endParaRPr lang="en-GB" altLang="sl-SI" smtClean="0"/>
          </a:p>
        </p:txBody>
      </p:sp>
    </p:spTree>
    <p:extLst>
      <p:ext uri="{BB962C8B-B14F-4D97-AF65-F5344CB8AC3E}">
        <p14:creationId xmlns:p14="http://schemas.microsoft.com/office/powerpoint/2010/main" val="4011069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Kako se ščitimo</a:t>
            </a:r>
            <a:endParaRPr lang="en-GB" altLang="sl-SI" smtClean="0"/>
          </a:p>
        </p:txBody>
      </p:sp>
      <p:pic>
        <p:nvPicPr>
          <p:cNvPr id="4" name="Picture 2" descr="Rezultat iskanja slik za firewal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738" y="2470150"/>
            <a:ext cx="2381250" cy="1255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Rezultat iskanja slik za ips ids ico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75" y="3636963"/>
            <a:ext cx="1985963" cy="178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 descr="Rezultat iskanja slik za data loss preven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0" y="2338388"/>
            <a:ext cx="1919288" cy="143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Rezultat iskanja slik za sie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025" y="2574925"/>
            <a:ext cx="2497138" cy="2303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Rezultat iskanja slik za mail gateway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2100" y="3875088"/>
            <a:ext cx="1601788" cy="133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7754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Pomembni dejavniki učinkovite zaščite</a:t>
            </a:r>
            <a:endParaRPr lang="en-GB" altLang="sl-SI" smtClean="0"/>
          </a:p>
        </p:txBody>
      </p:sp>
      <p:pic>
        <p:nvPicPr>
          <p:cNvPr id="4" name="Picture 2" descr="Rezultat iskanja slik za gard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1688" y="3575050"/>
            <a:ext cx="2344737" cy="175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Rezultat iskanja slik za false securit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325" y="2466975"/>
            <a:ext cx="2644775" cy="198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Rezultat iskanja slik za visibility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6425" y="2125663"/>
            <a:ext cx="2667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0061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en-GB" altLang="sl-SI" smtClean="0"/>
          </a:p>
        </p:txBody>
      </p:sp>
      <p:sp>
        <p:nvSpPr>
          <p:cNvPr id="131075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Ozaveščenost</a:t>
            </a:r>
            <a:endParaRPr lang="en-GB" altLang="sl-SI" smtClean="0"/>
          </a:p>
        </p:txBody>
      </p:sp>
      <p:pic>
        <p:nvPicPr>
          <p:cNvPr id="4" name="Picture 3" descr="Rezultat iskanja slik za card and pi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2903538"/>
            <a:ext cx="3798888" cy="2522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http://www.ampercent.com/wp/wp-content/uploads/SharingPassword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6375" y="2125663"/>
            <a:ext cx="3473450" cy="260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393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28650" y="2227263"/>
            <a:ext cx="7886700" cy="2473325"/>
          </a:xfrm>
        </p:spPr>
        <p:txBody>
          <a:bodyPr rtlCol="0">
            <a:normAutofit fontScale="62500" lnSpcReduction="20000"/>
          </a:bodyPr>
          <a:lstStyle/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r>
              <a:rPr lang="sl-SI" sz="4500" dirty="0"/>
              <a:t>Preverimo, od koga prihajajo sporočila</a:t>
            </a:r>
          </a:p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r>
              <a:rPr lang="sl-SI" sz="4500" dirty="0"/>
              <a:t>Ne pošiljajmo vsega vsakomur</a:t>
            </a:r>
          </a:p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r>
              <a:rPr lang="sl-SI" sz="4500" dirty="0"/>
              <a:t>Pazimo na naše podatke in podatke, ki so nam bili predani v varstvo</a:t>
            </a:r>
          </a:p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r>
              <a:rPr lang="sl-SI" sz="4500" dirty="0"/>
              <a:t>Ustrezno zaščitimo komunikacijske poti</a:t>
            </a:r>
          </a:p>
          <a:p>
            <a:pPr marL="171446" indent="-171446" defTabSz="685783" eaLnBrk="1" fontAlgn="auto" hangingPunct="1">
              <a:spcAft>
                <a:spcPts val="0"/>
              </a:spcAft>
              <a:defRPr/>
            </a:pPr>
            <a:r>
              <a:rPr lang="sl-SI" sz="4500" dirty="0"/>
              <a:t>Obnašajmo se varno</a:t>
            </a:r>
            <a:endParaRPr lang="en-GB" sz="4500" dirty="0"/>
          </a:p>
        </p:txBody>
      </p:sp>
      <p:sp>
        <p:nvSpPr>
          <p:cNvPr id="132099" name="Title 2"/>
          <p:cNvSpPr>
            <a:spLocks noGrp="1"/>
          </p:cNvSpPr>
          <p:nvPr>
            <p:ph type="title"/>
          </p:nvPr>
        </p:nvSpPr>
        <p:spPr>
          <a:xfrm>
            <a:off x="628650" y="1019175"/>
            <a:ext cx="7886700" cy="671513"/>
          </a:xfrm>
        </p:spPr>
        <p:txBody>
          <a:bodyPr/>
          <a:lstStyle/>
          <a:p>
            <a:pPr eaLnBrk="1" hangingPunct="1"/>
            <a:r>
              <a:rPr lang="sl-SI" altLang="sl-SI" smtClean="0"/>
              <a:t>Kaj lahko naredimo?</a:t>
            </a:r>
            <a:endParaRPr lang="en-GB" altLang="sl-SI" smtClean="0"/>
          </a:p>
        </p:txBody>
      </p:sp>
    </p:spTree>
    <p:extLst>
      <p:ext uri="{BB962C8B-B14F-4D97-AF65-F5344CB8AC3E}">
        <p14:creationId xmlns:p14="http://schemas.microsoft.com/office/powerpoint/2010/main" val="4086691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75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75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A.T. Kearney GENERAL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.T. Kearney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1584AFEF-813F-4CCC-ADDA-A8D46F3C36B5}" vid="{C37F3330-E2D8-470B-875D-BDEA75C0975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5</TotalTime>
  <Words>127</Words>
  <Application>Microsoft Office PowerPoint</Application>
  <PresentationFormat>Diaprojekcija na zaslonu (4:3)</PresentationFormat>
  <Paragraphs>35</Paragraphs>
  <Slides>11</Slides>
  <Notes>0</Notes>
  <HiddenSlides>0</HiddenSlides>
  <MMClips>0</MMClips>
  <ScaleCrop>false</ScaleCrop>
  <HeadingPairs>
    <vt:vector size="8" baseType="variant">
      <vt:variant>
        <vt:lpstr>Uporabljene pisave</vt:lpstr>
      </vt:variant>
      <vt:variant>
        <vt:i4>4</vt:i4>
      </vt:variant>
      <vt:variant>
        <vt:lpstr>Tema</vt:lpstr>
      </vt:variant>
      <vt:variant>
        <vt:i4>3</vt:i4>
      </vt:variant>
      <vt:variant>
        <vt:lpstr>Vdelani OLE strežniki</vt:lpstr>
      </vt:variant>
      <vt:variant>
        <vt:i4>1</vt:i4>
      </vt:variant>
      <vt:variant>
        <vt:lpstr>Naslovi diapozitivov</vt:lpstr>
      </vt:variant>
      <vt:variant>
        <vt:i4>11</vt:i4>
      </vt:variant>
    </vt:vector>
  </HeadingPairs>
  <TitlesOfParts>
    <vt:vector size="19" baseType="lpstr">
      <vt:lpstr>Arial</vt:lpstr>
      <vt:lpstr>Arial </vt:lpstr>
      <vt:lpstr>Calibri</vt:lpstr>
      <vt:lpstr>Calibri Light</vt:lpstr>
      <vt:lpstr>1_Office Theme</vt:lpstr>
      <vt:lpstr>Blank</vt:lpstr>
      <vt:lpstr>Office Theme</vt:lpstr>
      <vt:lpstr>think-cell Slide</vt:lpstr>
      <vt:lpstr>Kako se zaščititi na spletu</vt:lpstr>
      <vt:lpstr>Trendi spletnega kriminala po podatkih Europol</vt:lpstr>
      <vt:lpstr>Oblike spletnega kriminala po podatkih Europol</vt:lpstr>
      <vt:lpstr>Kdo so napadalci</vt:lpstr>
      <vt:lpstr>Sprememba vprašanja</vt:lpstr>
      <vt:lpstr>Kako se ščitimo</vt:lpstr>
      <vt:lpstr>Pomembni dejavniki učinkovite zaščite</vt:lpstr>
      <vt:lpstr>Ozaveščenost</vt:lpstr>
      <vt:lpstr>Kaj lahko naredimo?</vt:lpstr>
      <vt:lpstr>Ali se zavedamo nevarnosti?</vt:lpstr>
      <vt:lpstr>Hvala za pozornost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cionalizacija produktov in storitev MSP na digitalni način</dc:title>
  <dc:creator>Info4 Gospodarska zbornica</dc:creator>
  <cp:lastModifiedBy>Info4 Gospodarska zbornica</cp:lastModifiedBy>
  <cp:revision>4</cp:revision>
  <dcterms:created xsi:type="dcterms:W3CDTF">2017-09-06T12:51:23Z</dcterms:created>
  <dcterms:modified xsi:type="dcterms:W3CDTF">2017-09-06T12:57:21Z</dcterms:modified>
</cp:coreProperties>
</file>